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</p:sldMasterIdLst>
  <p:notesMasterIdLst>
    <p:notesMasterId r:id="rId9"/>
  </p:notesMasterIdLst>
  <p:sldIdLst>
    <p:sldId id="2404" r:id="rId4"/>
    <p:sldId id="4519" r:id="rId5"/>
    <p:sldId id="4518" r:id="rId6"/>
    <p:sldId id="4517" r:id="rId7"/>
    <p:sldId id="4903" r:id="rId8"/>
  </p:sldIdLst>
  <p:sldSz cx="12192000" cy="6858000"/>
  <p:notesSz cx="6858000" cy="9144000"/>
  <p:custDataLst>
    <p:tags r:id="rId1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FFFF"/>
    <a:srgbClr val="0000FF"/>
    <a:srgbClr val="FF6600"/>
    <a:srgbClr val="305983"/>
    <a:srgbClr val="92D050"/>
    <a:srgbClr val="FFCCFF"/>
    <a:srgbClr val="F7E7E9"/>
    <a:srgbClr val="D31145"/>
    <a:srgbClr val="E7F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68" autoAdjust="0"/>
    <p:restoredTop sz="96229" autoAdjust="0"/>
  </p:normalViewPr>
  <p:slideViewPr>
    <p:cSldViewPr snapToGrid="0">
      <p:cViewPr varScale="1">
        <p:scale>
          <a:sx n="62" d="100"/>
          <a:sy n="62" d="100"/>
        </p:scale>
        <p:origin x="1278" y="66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06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0531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9547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6820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106838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52286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488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06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06.2022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06.2022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06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95230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ulka 1. </a:t>
            </a:r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ybrané ukazatele virové </a:t>
            </a:r>
            <a:r>
              <a:rPr lang="cs-CZ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átěže populace ČR </a:t>
            </a:r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 celou dobu epidemie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ulka 1">
            <a:extLst>
              <a:ext uri="{FF2B5EF4-FFF2-40B4-BE49-F238E27FC236}">
                <a16:creationId xmlns:a16="http://schemas.microsoft.com/office/drawing/2014/main" id="{FF524BA1-B375-455D-B9A1-15D38424CE8F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1328600"/>
              </p:ext>
            </p:extLst>
          </p:nvPr>
        </p:nvGraphicFramePr>
        <p:xfrm>
          <a:off x="285783" y="441495"/>
          <a:ext cx="10829892" cy="31405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6488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766807">
                  <a:extLst>
                    <a:ext uri="{9D8B030D-6E8A-4147-A177-3AD203B41FA5}">
                      <a16:colId xmlns:a16="http://schemas.microsoft.com/office/drawing/2014/main" val="3946672843"/>
                    </a:ext>
                  </a:extLst>
                </a:gridCol>
                <a:gridCol w="1906291">
                  <a:extLst>
                    <a:ext uri="{9D8B030D-6E8A-4147-A177-3AD203B41FA5}">
                      <a16:colId xmlns:a16="http://schemas.microsoft.com/office/drawing/2014/main" val="881403994"/>
                    </a:ext>
                  </a:extLst>
                </a:gridCol>
                <a:gridCol w="1549831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44298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  <a:gridCol w="1956177">
                  <a:extLst>
                    <a:ext uri="{9D8B030D-6E8A-4147-A177-3AD203B41FA5}">
                      <a16:colId xmlns:a16="http://schemas.microsoft.com/office/drawing/2014/main" val="2343414911"/>
                    </a:ext>
                  </a:extLst>
                </a:gridCol>
              </a:tblGrid>
              <a:tr h="1272293"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e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lkový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t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</a:t>
                      </a: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ě potvrzených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ípadů</a:t>
                      </a: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ákazy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čet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</a:t>
                      </a: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ě potvrzených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ípadů</a:t>
                      </a: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ákazy u osob ve věku 65+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lkový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t</a:t>
                      </a: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všech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ých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spitalizací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lkový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t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ých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spitalizací na JIP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lkový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t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ých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spitalizací na UPV/ECMO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cs-CZ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řezen – srpen 2020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cs-CZ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áří – prosinec 2020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8 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2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cs-CZ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den – srpen 2021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1 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cs-CZ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áří – prosinec 2021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 6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9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4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cs-CZ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den – květen 2022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4 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8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lkem 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19 6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 3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 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8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880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76677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ulka 2. </a:t>
            </a:r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ybrané ukazatele virové zátěže v regionech ČR, stav k 5.2. 2022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ulka 1">
            <a:extLst>
              <a:ext uri="{FF2B5EF4-FFF2-40B4-BE49-F238E27FC236}">
                <a16:creationId xmlns:a16="http://schemas.microsoft.com/office/drawing/2014/main" id="{FF524BA1-B375-455D-B9A1-15D38424CE8F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535542"/>
              </p:ext>
            </p:extLst>
          </p:nvPr>
        </p:nvGraphicFramePr>
        <p:xfrm>
          <a:off x="285783" y="441495"/>
          <a:ext cx="11533757" cy="5787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1774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373716">
                  <a:extLst>
                    <a:ext uri="{9D8B030D-6E8A-4147-A177-3AD203B41FA5}">
                      <a16:colId xmlns:a16="http://schemas.microsoft.com/office/drawing/2014/main" val="3946672843"/>
                    </a:ext>
                  </a:extLst>
                </a:gridCol>
                <a:gridCol w="1373716">
                  <a:extLst>
                    <a:ext uri="{9D8B030D-6E8A-4147-A177-3AD203B41FA5}">
                      <a16:colId xmlns:a16="http://schemas.microsoft.com/office/drawing/2014/main" val="1024993225"/>
                    </a:ext>
                  </a:extLst>
                </a:gridCol>
                <a:gridCol w="1373716">
                  <a:extLst>
                    <a:ext uri="{9D8B030D-6E8A-4147-A177-3AD203B41FA5}">
                      <a16:colId xmlns:a16="http://schemas.microsoft.com/office/drawing/2014/main" val="4158341924"/>
                    </a:ext>
                  </a:extLst>
                </a:gridCol>
                <a:gridCol w="1373716">
                  <a:extLst>
                    <a:ext uri="{9D8B030D-6E8A-4147-A177-3AD203B41FA5}">
                      <a16:colId xmlns:a16="http://schemas.microsoft.com/office/drawing/2014/main" val="881403994"/>
                    </a:ext>
                  </a:extLst>
                </a:gridCol>
                <a:gridCol w="1373716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373716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  <a:gridCol w="1373716">
                  <a:extLst>
                    <a:ext uri="{9D8B030D-6E8A-4147-A177-3AD203B41FA5}">
                      <a16:colId xmlns:a16="http://schemas.microsoft.com/office/drawing/2014/main" val="2343414911"/>
                    </a:ext>
                  </a:extLst>
                </a:gridCol>
              </a:tblGrid>
              <a:tr h="1066672"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e</a:t>
                      </a:r>
                      <a:endParaRPr lang="cs-CZ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t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ých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ípadů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100 tis.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byv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dhad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R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e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7denních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asových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eků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lativní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zitivita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ikovaných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Dg/Epi)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ů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v % *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cs-CZ" sz="14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7denní absolutní  počet nových příjmů do nemocnic celkem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cs-CZ" sz="14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7 denní absolutní počet nových příjmů na JIP 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Počet hospitalizovaných na JIP k danému datu</a:t>
                      </a:r>
                    </a:p>
                    <a:p>
                      <a:pPr marL="0" algn="ctr" defTabSz="914400" rtl="0" eaLnBrk="1" latinLnBrk="0" hangingPunct="1"/>
                      <a:endParaRPr lang="cs-CZ" sz="14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Počet léčených na UPV/ECMO k danému datu</a:t>
                      </a:r>
                      <a:endParaRPr lang="en-US" sz="14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/>
                      <a:endParaRPr lang="cs-CZ" sz="14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7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6 % / 24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9 % / 24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8 % / 20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7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5 % / 27.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1 % / 17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6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2 % / 26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7 % / 25.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2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0 % / 25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ěsto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aha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4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8 % / 25.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5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1 % / 25.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4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2 % / 23.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ysočina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7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5 % / 26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5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4 % / 26.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</a:t>
                      </a: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4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 % / 23.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90744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9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5 % / 23.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880044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34FC6CE0-C1B9-450B-BC63-2D948B3FA1AD}"/>
              </a:ext>
            </a:extLst>
          </p:cNvPr>
          <p:cNvSpPr txBox="1"/>
          <p:nvPr/>
        </p:nvSpPr>
        <p:spPr>
          <a:xfrm>
            <a:off x="205115" y="6298355"/>
            <a:ext cx="9144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cs-CZ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y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agnostické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inické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kace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1400" b="1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g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cs-CZ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esty z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idemiologických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kací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1400" b="1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i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42466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5217" y="178301"/>
            <a:ext cx="11614422" cy="7206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ulka 3. </a:t>
            </a:r>
            <a:r>
              <a:rPr kumimoji="0" lang="cs-CZ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brané klíčové ukazatele zdravotního dopadu virové nákazy, srovnání neočkované a očkované populace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tav k 5.2. 2022)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1ED4E82F-4261-4134-A121-E16D0692636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2390459"/>
              </p:ext>
            </p:extLst>
          </p:nvPr>
        </p:nvGraphicFramePr>
        <p:xfrm>
          <a:off x="4133727" y="1528787"/>
          <a:ext cx="3914242" cy="315687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085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805682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 BEZ POSILUJÍCÍ DÁVKY</a:t>
                      </a:r>
                      <a:endParaRPr lang="cs-CZ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8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D427D2F6-1A27-480F-B771-D8615B76545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99837560"/>
              </p:ext>
            </p:extLst>
          </p:nvPr>
        </p:nvGraphicFramePr>
        <p:xfrm>
          <a:off x="75217" y="1533689"/>
          <a:ext cx="3914242" cy="315687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085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805682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6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* testů u osob ve věku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</a:tbl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F4CCE924-6C64-4C00-A3B0-FD6FB29DB74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36235504"/>
              </p:ext>
            </p:extLst>
          </p:nvPr>
        </p:nvGraphicFramePr>
        <p:xfrm>
          <a:off x="8182509" y="1532016"/>
          <a:ext cx="3914241" cy="315687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08559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805682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 S POSILUJÍCÍ DÁVKOU</a:t>
                      </a:r>
                      <a:endParaRPr lang="cs-CZ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1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</a:tbl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B5F20BA0-1788-4958-BD65-BC291209762D}"/>
              </a:ext>
            </a:extLst>
          </p:cNvPr>
          <p:cNvSpPr txBox="1"/>
          <p:nvPr/>
        </p:nvSpPr>
        <p:spPr>
          <a:xfrm>
            <a:off x="0" y="4826016"/>
            <a:ext cx="9144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cs-CZ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y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agnostické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inické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kace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1400" b="1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g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cs-CZ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esty z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idemiologických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kací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US" sz="1400" b="1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i</a:t>
            </a:r>
            <a:r>
              <a:rPr lang="en-US" sz="14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679546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238323"/>
            <a:ext cx="11614422" cy="7225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abulka 4. </a:t>
            </a:r>
            <a:r>
              <a:rPr kumimoji="0" lang="cs-CZ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chranný </a:t>
            </a:r>
            <a:r>
              <a:rPr lang="cs-CZ" sz="1800" dirty="0"/>
              <a:t>efekt plně dokončeného očkování: redukce rizika těžkého průběhu nemoci u populace ve věku 65+ (stav k 5.2. 2022)</a:t>
            </a:r>
            <a:endParaRPr kumimoji="0" lang="cs-CZ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B38B72BD-4332-496B-ADC5-5F2BC97B609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929470"/>
              </p:ext>
            </p:extLst>
          </p:nvPr>
        </p:nvGraphicFramePr>
        <p:xfrm>
          <a:off x="234572" y="1661004"/>
          <a:ext cx="5043025" cy="25966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0751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835511">
                  <a:extLst>
                    <a:ext uri="{9D8B030D-6E8A-4147-A177-3AD203B41FA5}">
                      <a16:colId xmlns:a16="http://schemas.microsoft.com/office/drawing/2014/main" val="1107678429"/>
                    </a:ext>
                  </a:extLst>
                </a:gridCol>
              </a:tblGrid>
              <a:tr h="47567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POPULACE 65+</a:t>
                      </a:r>
                      <a:endParaRPr lang="cs-CZ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OCHRANNÝ EFEKT (OE) DOKONČENÉHO OČKOVÁNÍ BEZ POSILUJÍCÍ DÁVKY *</a:t>
                      </a:r>
                      <a:endParaRPr lang="cs-CZ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chranný efek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3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4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4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9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16" name="TextovéPole 15">
            <a:extLst>
              <a:ext uri="{FF2B5EF4-FFF2-40B4-BE49-F238E27FC236}">
                <a16:creationId xmlns:a16="http://schemas.microsoft.com/office/drawing/2014/main" id="{999882CA-4A73-4594-81CB-D47709484E6C}"/>
              </a:ext>
            </a:extLst>
          </p:cNvPr>
          <p:cNvSpPr txBox="1"/>
          <p:nvPr/>
        </p:nvSpPr>
        <p:spPr>
          <a:xfrm>
            <a:off x="205115" y="4396511"/>
            <a:ext cx="10715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* Kalkulováno ze 7denních kumulativních počtů případů onemocnění; vždy ve srovnání dané populace s neočkovanou populací</a:t>
            </a:r>
            <a:endParaRPr lang="en-US" sz="1600" dirty="0"/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1DE779C9-D7A1-4B6E-9500-BCC80627A33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91030511"/>
              </p:ext>
            </p:extLst>
          </p:nvPr>
        </p:nvGraphicFramePr>
        <p:xfrm>
          <a:off x="5865963" y="1661004"/>
          <a:ext cx="5054475" cy="25966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1896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835511">
                  <a:extLst>
                    <a:ext uri="{9D8B030D-6E8A-4147-A177-3AD203B41FA5}">
                      <a16:colId xmlns:a16="http://schemas.microsoft.com/office/drawing/2014/main" val="1107678429"/>
                    </a:ext>
                  </a:extLst>
                </a:gridCol>
              </a:tblGrid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POPULACE 65+</a:t>
                      </a:r>
                      <a:endParaRPr lang="cs-CZ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OCHRANNÝ EFEKT (OE) DOKONČENÉHO OČKOVÁNÍ S POSILUJÍCÍ DÁVKOU *</a:t>
                      </a:r>
                      <a:endParaRPr lang="cs-CZ"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chranný efek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5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6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9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3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4937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10845644" cy="576000"/>
          </a:xfrm>
        </p:spPr>
        <p:txBody>
          <a:bodyPr/>
          <a:lstStyle/>
          <a:p>
            <a:r>
              <a:rPr lang="cs-CZ" sz="1800" dirty="0">
                <a:solidFill>
                  <a:schemeClr val="tx1"/>
                </a:solidFill>
              </a:rPr>
              <a:t>Tabulka 5. </a:t>
            </a:r>
            <a:r>
              <a:rPr lang="cs-CZ" sz="1800" b="0" dirty="0">
                <a:solidFill>
                  <a:schemeClr val="tx1"/>
                </a:solidFill>
              </a:rPr>
              <a:t>Proočkovanost populace českých lékařů, stav k 1.5. 2022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241914" y="3407713"/>
            <a:ext cx="114541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očet zdravotnických pracovníků nahlášených do NZIS (Národní registr zdravotnických pracovníků – NRZP) poskytovateli zdravotních služeb na dané pozici; jako aktuálně aktivní jsou hodnoceni pracovníci zaměstnaní v období od 1.9.2021 do současnosti.</a:t>
            </a:r>
          </a:p>
        </p:txBody>
      </p:sp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4DD8F72-4E44-4692-8AFF-C1E618AA26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3704220"/>
              </p:ext>
            </p:extLst>
          </p:nvPr>
        </p:nvGraphicFramePr>
        <p:xfrm>
          <a:off x="331021" y="723901"/>
          <a:ext cx="11726662" cy="2564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8990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445036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332106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332106">
                  <a:extLst>
                    <a:ext uri="{9D8B030D-6E8A-4147-A177-3AD203B41FA5}">
                      <a16:colId xmlns:a16="http://schemas.microsoft.com/office/drawing/2014/main" val="2853433740"/>
                    </a:ext>
                  </a:extLst>
                </a:gridCol>
                <a:gridCol w="1332106">
                  <a:extLst>
                    <a:ext uri="{9D8B030D-6E8A-4147-A177-3AD203B41FA5}">
                      <a16:colId xmlns:a16="http://schemas.microsoft.com/office/drawing/2014/main" val="1897229050"/>
                    </a:ext>
                  </a:extLst>
                </a:gridCol>
                <a:gridCol w="1332106">
                  <a:extLst>
                    <a:ext uri="{9D8B030D-6E8A-4147-A177-3AD203B41FA5}">
                      <a16:colId xmlns:a16="http://schemas.microsoft.com/office/drawing/2014/main" val="4290228433"/>
                    </a:ext>
                  </a:extLst>
                </a:gridCol>
                <a:gridCol w="1332106">
                  <a:extLst>
                    <a:ext uri="{9D8B030D-6E8A-4147-A177-3AD203B41FA5}">
                      <a16:colId xmlns:a16="http://schemas.microsoft.com/office/drawing/2014/main" val="1516975932"/>
                    </a:ext>
                  </a:extLst>
                </a:gridCol>
                <a:gridCol w="1332106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8963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Zdravotničtí pracovníci evidovaní </a:t>
                      </a:r>
                    </a:p>
                    <a:p>
                      <a:pPr algn="l" fontAlgn="ctr"/>
                      <a:r>
                        <a:rPr lang="cs-CZ" sz="1600" dirty="0">
                          <a:solidFill>
                            <a:schemeClr val="tx1"/>
                          </a:solidFill>
                          <a:latin typeface="+mn-lt"/>
                        </a:rPr>
                        <a:t>v NZIS podle pracovních pozic*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 zdravotnických pracovníků </a:t>
                      </a:r>
                      <a:endParaRPr lang="cs-CZ" sz="16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čkovaní celkem</a:t>
                      </a:r>
                      <a:endParaRPr kumimoji="0" lang="cs-CZ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 posilující dávkou</a:t>
                      </a:r>
                      <a:endParaRPr kumimoji="0" lang="cs-CZ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uze se dvěma dávkami</a:t>
                      </a:r>
                      <a:endParaRPr kumimoji="0" lang="cs-CZ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uze s jednou dávkou</a:t>
                      </a:r>
                      <a:endParaRPr kumimoji="0" lang="cs-CZ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uze prodělali </a:t>
                      </a: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emocnění</a:t>
                      </a:r>
                      <a:endParaRPr kumimoji="0" lang="cs-CZ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  <a:endParaRPr kumimoji="0" lang="cs-CZ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9202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ní lékaři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včetně zubních lékařů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 8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6 486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 835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 475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1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6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881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 492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6550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ní </a:t>
                      </a:r>
                      <a:r>
                        <a:rPr lang="cs-CZ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L + PLDD </a:t>
                      </a:r>
                      <a:endParaRPr kumimoji="0" lang="cs-CZ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 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 383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741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24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0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4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077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9012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5</TotalTime>
  <Words>1004</Words>
  <Application>Microsoft Office PowerPoint</Application>
  <PresentationFormat>Širokoúhlá obrazovka</PresentationFormat>
  <Paragraphs>274</Paragraphs>
  <Slides>5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5</vt:i4>
      </vt:variant>
    </vt:vector>
  </HeadingPairs>
  <TitlesOfParts>
    <vt:vector size="12" baseType="lpstr">
      <vt:lpstr>Arial</vt:lpstr>
      <vt:lpstr>Calibri</vt:lpstr>
      <vt:lpstr>Calibri Light</vt:lpstr>
      <vt:lpstr>Times New Roman</vt:lpstr>
      <vt:lpstr>Motiv Office</vt:lpstr>
      <vt:lpstr>1_Motiv systému Office</vt:lpstr>
      <vt:lpstr>1_Motiv Office</vt:lpstr>
      <vt:lpstr>Prezentace aplikace PowerPoint</vt:lpstr>
      <vt:lpstr>Prezentace aplikace PowerPoint</vt:lpstr>
      <vt:lpstr>Prezentace aplikace PowerPoint</vt:lpstr>
      <vt:lpstr>Prezentace aplikace PowerPoint</vt:lpstr>
      <vt:lpstr>Tabulka 5. Proočkovanost populace českých lékařů, stav k 1.5. 2022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812</cp:revision>
  <dcterms:created xsi:type="dcterms:W3CDTF">2020-03-16T10:06:11Z</dcterms:created>
  <dcterms:modified xsi:type="dcterms:W3CDTF">2022-06-03T15:53:07Z</dcterms:modified>
</cp:coreProperties>
</file>